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6FE212-4213-4F2A-8D89-50AE1B60BC37}" v="49" dt="2023-03-08T23:51:51.0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A76FE212-4213-4F2A-8D89-50AE1B60BC37}"/>
    <pc:docChg chg="modSld">
      <pc:chgData name="Roberto Gallardo" userId="49a044883f185952" providerId="LiveId" clId="{A76FE212-4213-4F2A-8D89-50AE1B60BC37}" dt="2023-03-08T23:52:11.058" v="322" actId="14100"/>
      <pc:docMkLst>
        <pc:docMk/>
      </pc:docMkLst>
      <pc:sldChg chg="addSp modSp mod">
        <pc:chgData name="Roberto Gallardo" userId="49a044883f185952" providerId="LiveId" clId="{A76FE212-4213-4F2A-8D89-50AE1B60BC37}" dt="2023-03-08T23:41:56.501" v="48" actId="1076"/>
        <pc:sldMkLst>
          <pc:docMk/>
          <pc:sldMk cId="1418533539" sldId="271"/>
        </pc:sldMkLst>
        <pc:picChg chg="add mod">
          <ac:chgData name="Roberto Gallardo" userId="49a044883f185952" providerId="LiveId" clId="{A76FE212-4213-4F2A-8D89-50AE1B60BC37}" dt="2023-03-08T23:41:56.501" v="48" actId="1076"/>
          <ac:picMkLst>
            <pc:docMk/>
            <pc:sldMk cId="1418533539" sldId="271"/>
            <ac:picMk id="6" creationId="{14B3B127-D1EF-97DC-3F14-A05FC0FF7C7F}"/>
          </ac:picMkLst>
        </pc:picChg>
      </pc:sldChg>
      <pc:sldChg chg="addSp modSp mod">
        <pc:chgData name="Roberto Gallardo" userId="49a044883f185952" providerId="LiveId" clId="{A76FE212-4213-4F2A-8D89-50AE1B60BC37}" dt="2023-03-08T23:47:08.731" v="191" actId="1076"/>
        <pc:sldMkLst>
          <pc:docMk/>
          <pc:sldMk cId="2124848710" sldId="281"/>
        </pc:sldMkLst>
        <pc:picChg chg="add mod">
          <ac:chgData name="Roberto Gallardo" userId="49a044883f185952" providerId="LiveId" clId="{A76FE212-4213-4F2A-8D89-50AE1B60BC37}" dt="2023-03-08T23:47:08.731" v="191" actId="1076"/>
          <ac:picMkLst>
            <pc:docMk/>
            <pc:sldMk cId="2124848710" sldId="281"/>
            <ac:picMk id="6" creationId="{1D2B3179-1A7B-6B29-AF86-25B2A766AED2}"/>
          </ac:picMkLst>
        </pc:picChg>
      </pc:sldChg>
      <pc:sldChg chg="addSp modSp mod">
        <pc:chgData name="Roberto Gallardo" userId="49a044883f185952" providerId="LiveId" clId="{A76FE212-4213-4F2A-8D89-50AE1B60BC37}" dt="2023-03-08T23:47:05.339" v="190" actId="1076"/>
        <pc:sldMkLst>
          <pc:docMk/>
          <pc:sldMk cId="2028175529" sldId="282"/>
        </pc:sldMkLst>
        <pc:picChg chg="add mod">
          <ac:chgData name="Roberto Gallardo" userId="49a044883f185952" providerId="LiveId" clId="{A76FE212-4213-4F2A-8D89-50AE1B60BC37}" dt="2023-03-08T23:47:05.339" v="190" actId="1076"/>
          <ac:picMkLst>
            <pc:docMk/>
            <pc:sldMk cId="2028175529" sldId="282"/>
            <ac:picMk id="7" creationId="{A696B721-1AE5-08ED-1181-33B01472F516}"/>
          </ac:picMkLst>
        </pc:picChg>
      </pc:sldChg>
      <pc:sldChg chg="addSp modSp mod">
        <pc:chgData name="Roberto Gallardo" userId="49a044883f185952" providerId="LiveId" clId="{A76FE212-4213-4F2A-8D89-50AE1B60BC37}" dt="2023-03-08T23:46:59.236" v="189" actId="1076"/>
        <pc:sldMkLst>
          <pc:docMk/>
          <pc:sldMk cId="1326517747" sldId="283"/>
        </pc:sldMkLst>
        <pc:picChg chg="add mod">
          <ac:chgData name="Roberto Gallardo" userId="49a044883f185952" providerId="LiveId" clId="{A76FE212-4213-4F2A-8D89-50AE1B60BC37}" dt="2023-03-08T23:46:59.236" v="189" actId="1076"/>
          <ac:picMkLst>
            <pc:docMk/>
            <pc:sldMk cId="1326517747" sldId="283"/>
            <ac:picMk id="7" creationId="{301C56C4-8BE6-5E62-5710-8D7FBC6C1E1E}"/>
          </ac:picMkLst>
        </pc:picChg>
      </pc:sldChg>
      <pc:sldChg chg="addSp modSp mod">
        <pc:chgData name="Roberto Gallardo" userId="49a044883f185952" providerId="LiveId" clId="{A76FE212-4213-4F2A-8D89-50AE1B60BC37}" dt="2023-03-08T23:47:46.135" v="206" actId="1036"/>
        <pc:sldMkLst>
          <pc:docMk/>
          <pc:sldMk cId="783739251" sldId="284"/>
        </pc:sldMkLst>
        <pc:picChg chg="add mod">
          <ac:chgData name="Roberto Gallardo" userId="49a044883f185952" providerId="LiveId" clId="{A76FE212-4213-4F2A-8D89-50AE1B60BC37}" dt="2023-03-08T23:47:46.135" v="206" actId="1036"/>
          <ac:picMkLst>
            <pc:docMk/>
            <pc:sldMk cId="783739251" sldId="284"/>
            <ac:picMk id="7" creationId="{3A8C1037-A09A-57ED-F55A-C0FB6D92DE70}"/>
          </ac:picMkLst>
        </pc:picChg>
      </pc:sldChg>
      <pc:sldChg chg="addSp modSp mod">
        <pc:chgData name="Roberto Gallardo" userId="49a044883f185952" providerId="LiveId" clId="{A76FE212-4213-4F2A-8D89-50AE1B60BC37}" dt="2023-03-08T23:48:05.764" v="216" actId="1076"/>
        <pc:sldMkLst>
          <pc:docMk/>
          <pc:sldMk cId="1676122233" sldId="285"/>
        </pc:sldMkLst>
        <pc:picChg chg="add mod">
          <ac:chgData name="Roberto Gallardo" userId="49a044883f185952" providerId="LiveId" clId="{A76FE212-4213-4F2A-8D89-50AE1B60BC37}" dt="2023-03-08T23:48:05.764" v="216" actId="1076"/>
          <ac:picMkLst>
            <pc:docMk/>
            <pc:sldMk cId="1676122233" sldId="285"/>
            <ac:picMk id="7" creationId="{9D591438-FAA5-64B8-E260-07DB7CB09776}"/>
          </ac:picMkLst>
        </pc:picChg>
      </pc:sldChg>
      <pc:sldChg chg="addSp modSp mod">
        <pc:chgData name="Roberto Gallardo" userId="49a044883f185952" providerId="LiveId" clId="{A76FE212-4213-4F2A-8D89-50AE1B60BC37}" dt="2023-03-08T23:48:32.161" v="229" actId="1076"/>
        <pc:sldMkLst>
          <pc:docMk/>
          <pc:sldMk cId="3100398757" sldId="286"/>
        </pc:sldMkLst>
        <pc:picChg chg="add mod">
          <ac:chgData name="Roberto Gallardo" userId="49a044883f185952" providerId="LiveId" clId="{A76FE212-4213-4F2A-8D89-50AE1B60BC37}" dt="2023-03-08T23:48:32.161" v="229" actId="1076"/>
          <ac:picMkLst>
            <pc:docMk/>
            <pc:sldMk cId="3100398757" sldId="286"/>
            <ac:picMk id="7" creationId="{0A10B181-9755-1BF5-099E-88AAE984035C}"/>
          </ac:picMkLst>
        </pc:picChg>
      </pc:sldChg>
      <pc:sldChg chg="addSp modSp mod">
        <pc:chgData name="Roberto Gallardo" userId="49a044883f185952" providerId="LiveId" clId="{A76FE212-4213-4F2A-8D89-50AE1B60BC37}" dt="2023-03-08T23:49:51.375" v="239" actId="1076"/>
        <pc:sldMkLst>
          <pc:docMk/>
          <pc:sldMk cId="1546475425" sldId="287"/>
        </pc:sldMkLst>
        <pc:picChg chg="add mod">
          <ac:chgData name="Roberto Gallardo" userId="49a044883f185952" providerId="LiveId" clId="{A76FE212-4213-4F2A-8D89-50AE1B60BC37}" dt="2023-03-08T23:49:51.375" v="239" actId="1076"/>
          <ac:picMkLst>
            <pc:docMk/>
            <pc:sldMk cId="1546475425" sldId="287"/>
            <ac:picMk id="7" creationId="{AD7F2385-7232-F01C-7EB7-2F90F3FC2CFE}"/>
          </ac:picMkLst>
        </pc:picChg>
      </pc:sldChg>
      <pc:sldChg chg="addSp modSp mod">
        <pc:chgData name="Roberto Gallardo" userId="49a044883f185952" providerId="LiveId" clId="{A76FE212-4213-4F2A-8D89-50AE1B60BC37}" dt="2023-03-08T23:50:34.365" v="262" actId="1076"/>
        <pc:sldMkLst>
          <pc:docMk/>
          <pc:sldMk cId="1380517306" sldId="288"/>
        </pc:sldMkLst>
        <pc:picChg chg="add mod">
          <ac:chgData name="Roberto Gallardo" userId="49a044883f185952" providerId="LiveId" clId="{A76FE212-4213-4F2A-8D89-50AE1B60BC37}" dt="2023-03-08T23:50:34.365" v="262" actId="1076"/>
          <ac:picMkLst>
            <pc:docMk/>
            <pc:sldMk cId="1380517306" sldId="288"/>
            <ac:picMk id="7" creationId="{3A576645-5CFC-B4B4-1260-F5509859B554}"/>
          </ac:picMkLst>
        </pc:picChg>
      </pc:sldChg>
      <pc:sldChg chg="addSp modSp mod">
        <pc:chgData name="Roberto Gallardo" userId="49a044883f185952" providerId="LiveId" clId="{A76FE212-4213-4F2A-8D89-50AE1B60BC37}" dt="2023-03-08T23:50:56.036" v="280" actId="1036"/>
        <pc:sldMkLst>
          <pc:docMk/>
          <pc:sldMk cId="1388671151" sldId="289"/>
        </pc:sldMkLst>
        <pc:picChg chg="add mod">
          <ac:chgData name="Roberto Gallardo" userId="49a044883f185952" providerId="LiveId" clId="{A76FE212-4213-4F2A-8D89-50AE1B60BC37}" dt="2023-03-08T23:50:56.036" v="280" actId="1036"/>
          <ac:picMkLst>
            <pc:docMk/>
            <pc:sldMk cId="1388671151" sldId="289"/>
            <ac:picMk id="7" creationId="{A48CADF9-7FD1-F228-530F-BA99857D7E90}"/>
          </ac:picMkLst>
        </pc:picChg>
      </pc:sldChg>
      <pc:sldChg chg="addSp modSp mod">
        <pc:chgData name="Roberto Gallardo" userId="49a044883f185952" providerId="LiveId" clId="{A76FE212-4213-4F2A-8D89-50AE1B60BC37}" dt="2023-03-08T23:51:44.487" v="307" actId="1035"/>
        <pc:sldMkLst>
          <pc:docMk/>
          <pc:sldMk cId="2355376039" sldId="290"/>
        </pc:sldMkLst>
        <pc:picChg chg="add mod">
          <ac:chgData name="Roberto Gallardo" userId="49a044883f185952" providerId="LiveId" clId="{A76FE212-4213-4F2A-8D89-50AE1B60BC37}" dt="2023-03-08T23:51:44.487" v="307" actId="1035"/>
          <ac:picMkLst>
            <pc:docMk/>
            <pc:sldMk cId="2355376039" sldId="290"/>
            <ac:picMk id="8" creationId="{1F5F7B9A-B21E-D788-0B3E-0088584ACEBB}"/>
          </ac:picMkLst>
        </pc:picChg>
      </pc:sldChg>
      <pc:sldChg chg="addSp modSp mod">
        <pc:chgData name="Roberto Gallardo" userId="49a044883f185952" providerId="LiveId" clId="{A76FE212-4213-4F2A-8D89-50AE1B60BC37}" dt="2023-03-08T23:52:11.058" v="322" actId="14100"/>
        <pc:sldMkLst>
          <pc:docMk/>
          <pc:sldMk cId="3757257295" sldId="291"/>
        </pc:sldMkLst>
        <pc:picChg chg="add mod">
          <ac:chgData name="Roberto Gallardo" userId="49a044883f185952" providerId="LiveId" clId="{A76FE212-4213-4F2A-8D89-50AE1B60BC37}" dt="2023-03-08T23:52:11.058" v="322" actId="14100"/>
          <ac:picMkLst>
            <pc:docMk/>
            <pc:sldMk cId="3757257295" sldId="291"/>
            <ac:picMk id="8" creationId="{48BC4393-1E97-EFE8-BBD2-D5DB3A84DB66}"/>
          </ac:picMkLst>
        </pc:picChg>
      </pc:sldChg>
      <pc:sldChg chg="addSp modSp mod">
        <pc:chgData name="Roberto Gallardo" userId="49a044883f185952" providerId="LiveId" clId="{A76FE212-4213-4F2A-8D89-50AE1B60BC37}" dt="2023-03-08T23:50:12.224" v="250" actId="1076"/>
        <pc:sldMkLst>
          <pc:docMk/>
          <pc:sldMk cId="1259856727" sldId="292"/>
        </pc:sldMkLst>
        <pc:picChg chg="add mod">
          <ac:chgData name="Roberto Gallardo" userId="49a044883f185952" providerId="LiveId" clId="{A76FE212-4213-4F2A-8D89-50AE1B60BC37}" dt="2023-03-08T23:50:12.224" v="250" actId="1076"/>
          <ac:picMkLst>
            <pc:docMk/>
            <pc:sldMk cId="1259856727" sldId="292"/>
            <ac:picMk id="7" creationId="{48A8C161-76F0-3B6C-3F16-7C1F47DE722F}"/>
          </ac:picMkLst>
        </pc:picChg>
      </pc:sldChg>
      <pc:sldChg chg="addSp modSp mod">
        <pc:chgData name="Roberto Gallardo" userId="49a044883f185952" providerId="LiveId" clId="{A76FE212-4213-4F2A-8D89-50AE1B60BC37}" dt="2023-03-08T23:47:11.443" v="192" actId="1076"/>
        <pc:sldMkLst>
          <pc:docMk/>
          <pc:sldMk cId="3324519687" sldId="293"/>
        </pc:sldMkLst>
        <pc:picChg chg="add mod">
          <ac:chgData name="Roberto Gallardo" userId="49a044883f185952" providerId="LiveId" clId="{A76FE212-4213-4F2A-8D89-50AE1B60BC37}" dt="2023-03-08T23:47:11.443" v="192" actId="1076"/>
          <ac:picMkLst>
            <pc:docMk/>
            <pc:sldMk cId="3324519687" sldId="293"/>
            <ac:picMk id="7" creationId="{A8486E6F-7562-CDFB-A3FA-480B4ADD96AC}"/>
          </ac:picMkLst>
        </pc:picChg>
      </pc:sldChg>
      <pc:sldChg chg="addSp modSp mod">
        <pc:chgData name="Roberto Gallardo" userId="49a044883f185952" providerId="LiveId" clId="{A76FE212-4213-4F2A-8D89-50AE1B60BC37}" dt="2023-03-08T23:44:52.644" v="108" actId="14100"/>
        <pc:sldMkLst>
          <pc:docMk/>
          <pc:sldMk cId="3256182630" sldId="295"/>
        </pc:sldMkLst>
        <pc:picChg chg="add mod">
          <ac:chgData name="Roberto Gallardo" userId="49a044883f185952" providerId="LiveId" clId="{A76FE212-4213-4F2A-8D89-50AE1B60BC37}" dt="2023-03-08T23:44:52.644" v="108" actId="14100"/>
          <ac:picMkLst>
            <pc:docMk/>
            <pc:sldMk cId="3256182630" sldId="295"/>
            <ac:picMk id="7" creationId="{E54CCBEC-0400-1772-0AE1-82B08441003E}"/>
          </ac:picMkLst>
        </pc:picChg>
      </pc:sldChg>
      <pc:sldChg chg="addSp modSp mod">
        <pc:chgData name="Roberto Gallardo" userId="49a044883f185952" providerId="LiveId" clId="{A76FE212-4213-4F2A-8D89-50AE1B60BC37}" dt="2023-03-08T23:45:04.357" v="110" actId="14100"/>
        <pc:sldMkLst>
          <pc:docMk/>
          <pc:sldMk cId="4057156843" sldId="296"/>
        </pc:sldMkLst>
        <pc:picChg chg="add mod">
          <ac:chgData name="Roberto Gallardo" userId="49a044883f185952" providerId="LiveId" clId="{A76FE212-4213-4F2A-8D89-50AE1B60BC37}" dt="2023-03-08T23:45:04.357" v="110" actId="14100"/>
          <ac:picMkLst>
            <pc:docMk/>
            <pc:sldMk cId="4057156843" sldId="296"/>
            <ac:picMk id="7" creationId="{17CDD729-3FA5-6DF5-376E-0210E062465F}"/>
          </ac:picMkLst>
        </pc:picChg>
      </pc:sldChg>
      <pc:sldChg chg="addSp modSp mod">
        <pc:chgData name="Roberto Gallardo" userId="49a044883f185952" providerId="LiveId" clId="{A76FE212-4213-4F2A-8D89-50AE1B60BC37}" dt="2023-03-08T23:42:33.640" v="66" actId="1076"/>
        <pc:sldMkLst>
          <pc:docMk/>
          <pc:sldMk cId="2080110827" sldId="297"/>
        </pc:sldMkLst>
        <pc:picChg chg="add mod">
          <ac:chgData name="Roberto Gallardo" userId="49a044883f185952" providerId="LiveId" clId="{A76FE212-4213-4F2A-8D89-50AE1B60BC37}" dt="2023-03-08T23:42:33.640" v="66" actId="1076"/>
          <ac:picMkLst>
            <pc:docMk/>
            <pc:sldMk cId="2080110827" sldId="297"/>
            <ac:picMk id="6" creationId="{46D50A7E-42ED-397C-9233-4EE62CC7FD95}"/>
          </ac:picMkLst>
        </pc:picChg>
      </pc:sldChg>
      <pc:sldChg chg="addSp modSp mod">
        <pc:chgData name="Roberto Gallardo" userId="49a044883f185952" providerId="LiveId" clId="{A76FE212-4213-4F2A-8D89-50AE1B60BC37}" dt="2023-03-08T23:42:18.207" v="58" actId="1076"/>
        <pc:sldMkLst>
          <pc:docMk/>
          <pc:sldMk cId="1532666867" sldId="298"/>
        </pc:sldMkLst>
        <pc:picChg chg="add mod">
          <ac:chgData name="Roberto Gallardo" userId="49a044883f185952" providerId="LiveId" clId="{A76FE212-4213-4F2A-8D89-50AE1B60BC37}" dt="2023-03-08T23:42:18.207" v="58" actId="1076"/>
          <ac:picMkLst>
            <pc:docMk/>
            <pc:sldMk cId="1532666867" sldId="298"/>
            <ac:picMk id="6" creationId="{5FA8541A-19A4-A575-A251-E2A6C53FEBB7}"/>
          </ac:picMkLst>
        </pc:picChg>
      </pc:sldChg>
      <pc:sldChg chg="addSp modSp mod">
        <pc:chgData name="Roberto Gallardo" userId="49a044883f185952" providerId="LiveId" clId="{A76FE212-4213-4F2A-8D89-50AE1B60BC37}" dt="2023-03-08T23:51:17.988" v="291" actId="1076"/>
        <pc:sldMkLst>
          <pc:docMk/>
          <pc:sldMk cId="1951376777" sldId="299"/>
        </pc:sldMkLst>
        <pc:picChg chg="add mod">
          <ac:chgData name="Roberto Gallardo" userId="49a044883f185952" providerId="LiveId" clId="{A76FE212-4213-4F2A-8D89-50AE1B60BC37}" dt="2023-03-08T23:51:17.988" v="291" actId="1076"/>
          <ac:picMkLst>
            <pc:docMk/>
            <pc:sldMk cId="1951376777" sldId="299"/>
            <ac:picMk id="7" creationId="{29BBDEA2-0816-9CDB-B1E9-BFA912891FB6}"/>
          </ac:picMkLst>
        </pc:picChg>
      </pc:sldChg>
      <pc:sldChg chg="modSp mod">
        <pc:chgData name="Roberto Gallardo" userId="49a044883f185952" providerId="LiveId" clId="{A76FE212-4213-4F2A-8D89-50AE1B60BC37}" dt="2023-02-25T18:52:28.228" v="37" actId="14100"/>
        <pc:sldMkLst>
          <pc:docMk/>
          <pc:sldMk cId="2366022307" sldId="306"/>
        </pc:sldMkLst>
        <pc:spChg chg="mod">
          <ac:chgData name="Roberto Gallardo" userId="49a044883f185952" providerId="LiveId" clId="{A76FE212-4213-4F2A-8D89-50AE1B60BC37}" dt="2023-02-25T18:52:10.970" v="21" actId="1036"/>
          <ac:spMkLst>
            <pc:docMk/>
            <pc:sldMk cId="2366022307" sldId="306"/>
            <ac:spMk id="11" creationId="{09F5AE19-B4E3-7788-F25F-CDA80D596DAF}"/>
          </ac:spMkLst>
        </pc:spChg>
        <pc:grpChg chg="mod">
          <ac:chgData name="Roberto Gallardo" userId="49a044883f185952" providerId="LiveId" clId="{A76FE212-4213-4F2A-8D89-50AE1B60BC37}" dt="2023-02-25T18:52:04.713" v="12" actId="1036"/>
          <ac:grpSpMkLst>
            <pc:docMk/>
            <pc:sldMk cId="2366022307" sldId="306"/>
            <ac:grpSpMk id="6" creationId="{4BC0EAD3-A621-359E-F822-1BC272A15D80}"/>
          </ac:grpSpMkLst>
        </pc:grpChg>
        <pc:cxnChg chg="mod">
          <ac:chgData name="Roberto Gallardo" userId="49a044883f185952" providerId="LiveId" clId="{A76FE212-4213-4F2A-8D89-50AE1B60BC37}" dt="2023-02-25T18:52:23.285" v="36" actId="1035"/>
          <ac:cxnSpMkLst>
            <pc:docMk/>
            <pc:sldMk cId="2366022307" sldId="306"/>
            <ac:cxnSpMk id="27" creationId="{F0CF8142-8895-D0A8-A662-E40568742508}"/>
          </ac:cxnSpMkLst>
        </pc:cxnChg>
        <pc:cxnChg chg="mod">
          <ac:chgData name="Roberto Gallardo" userId="49a044883f185952" providerId="LiveId" clId="{A76FE212-4213-4F2A-8D89-50AE1B60BC37}" dt="2023-02-25T18:52:28.228" v="37" actId="14100"/>
          <ac:cxnSpMkLst>
            <pc:docMk/>
            <pc:sldMk cId="2366022307" sldId="306"/>
            <ac:cxnSpMk id="28" creationId="{15C28C80-F0E1-159F-F103-CEA53436F6F9}"/>
          </ac:cxnSpMkLst>
        </pc:cxnChg>
        <pc:cxnChg chg="mod">
          <ac:chgData name="Roberto Gallardo" userId="49a044883f185952" providerId="LiveId" clId="{A76FE212-4213-4F2A-8D89-50AE1B60BC37}" dt="2023-02-25T18:52:16.101" v="22"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a:solidFill>
                  <a:schemeClr val="bg1"/>
                </a:solidFill>
              </a:rPr>
              <a:t>Vance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84547CF-DC4A-8F6D-301D-8C688AE21308}"/>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09607D6-C310-7BC7-89F2-C8C5472CC4DF}"/>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14B3B127-D1EF-97DC-3F14-A05FC0FF7C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552" y="1028700"/>
            <a:ext cx="589469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5FA8541A-19A4-A575-A251-E2A6C53FEB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83930" y="1032846"/>
            <a:ext cx="6547939"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46D50A7E-42ED-397C-9233-4EE62CC7FD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8883" y="1039710"/>
            <a:ext cx="6398033" cy="536523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C95186B-3672-7AF5-F0D2-B2C37E8A6236}"/>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E54CCBEC-0400-1772-0AE1-82B0844100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5296" y="1295400"/>
            <a:ext cx="5883010" cy="480060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35BA67C-7370-9100-20D3-914E93C0CACC}"/>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17CDD729-3FA5-6DF5-376E-0210E06246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87042"/>
            <a:ext cx="5946775" cy="4808958"/>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A81BD09F-1629-5FC9-047D-2C503BEE0C6F}"/>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A8486E6F-7562-CDFB-A3FA-480B4ADD96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5400"/>
            <a:ext cx="5117210" cy="4800600"/>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EAB942C-77E0-EA9A-2B15-BF97781BFF3F}"/>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1D2B3179-1A7B-6B29-AF86-25B2A766AE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5400"/>
            <a:ext cx="5267506" cy="4814984"/>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0743BEE6-FBFF-3F1B-C907-2C9B072FFBFD}"/>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696B721-1AE5-08ED-1181-33B01472F5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306545"/>
            <a:ext cx="5251422" cy="4789455"/>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69609B5F-D0C0-1834-A47D-747BF83C6C18}"/>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schematic&#10;&#10;Description automatically generated">
            <a:extLst>
              <a:ext uri="{FF2B5EF4-FFF2-40B4-BE49-F238E27FC236}">
                <a16:creationId xmlns:a16="http://schemas.microsoft.com/office/drawing/2014/main" id="{301C56C4-8BE6-5E62-5710-8D7FBC6C1E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5400"/>
            <a:ext cx="5301240" cy="4800600"/>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98BB0930-BF0E-47AA-86F9-1CD70AFC7577}"/>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3A8C1037-A09A-57ED-F55A-C0FB6D92DE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309554"/>
            <a:ext cx="5203372" cy="4812573"/>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626110B1-505F-5E0E-BE7D-E3D634D73DDB}"/>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D591438-FAA5-64B8-E260-07DB7CB097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5400"/>
            <a:ext cx="5737783" cy="4796644"/>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2DAD91B4-26C8-9E31-EB27-415188B9B352}"/>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medium confidence">
            <a:extLst>
              <a:ext uri="{FF2B5EF4-FFF2-40B4-BE49-F238E27FC236}">
                <a16:creationId xmlns:a16="http://schemas.microsoft.com/office/drawing/2014/main" id="{0A10B181-9755-1BF5-099E-88AAE98403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5400"/>
            <a:ext cx="5720748" cy="480060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2DEA5AED-707F-6757-EB80-1E8EEE6F4D2A}"/>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AD7F2385-7232-F01C-7EB7-2F90F3FC2C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5400"/>
            <a:ext cx="5701857" cy="4819757"/>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0DA8781A-782F-6C15-E2AE-2BC1093E0249}"/>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48A8C161-76F0-3B6C-3F16-7C1F47DE72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5400"/>
            <a:ext cx="5437185" cy="4800077"/>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4C163A54-5903-1534-028A-59C41A39F24C}"/>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medium confidence">
            <a:extLst>
              <a:ext uri="{FF2B5EF4-FFF2-40B4-BE49-F238E27FC236}">
                <a16:creationId xmlns:a16="http://schemas.microsoft.com/office/drawing/2014/main" id="{3A576645-5CFC-B4B4-1260-F5509859B5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5400"/>
            <a:ext cx="5203371" cy="4808906"/>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B422BADE-8D89-BFF2-5418-C6129F8705F6}"/>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A48CADF9-7FD1-F228-530F-BA99857D7E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304110"/>
            <a:ext cx="5117211" cy="480060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AB082D70-AB31-E2C2-4BA7-B7CB148C3E68}"/>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29BBDEA2-0816-9CDB-B1E9-BFA912891F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5400"/>
            <a:ext cx="5307874" cy="4830044"/>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49AD2317-670F-363A-7CCB-D5F7EECC8921}"/>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1F5F7B9A-B21E-D788-0B3E-0088584ACE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97451"/>
            <a:ext cx="5176573" cy="480060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53459FBB-1740-8BAD-DAF7-14BAA4D66E95}"/>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C50CE8D1-289E-9549-AC96-A261BF6B3AE0}"/>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A picture containing map&#10;&#10;Description automatically generated">
            <a:extLst>
              <a:ext uri="{FF2B5EF4-FFF2-40B4-BE49-F238E27FC236}">
                <a16:creationId xmlns:a16="http://schemas.microsoft.com/office/drawing/2014/main" id="{48BC4393-1E97-EFE8-BBD2-D5DB3A84DB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8824" y="1295400"/>
            <a:ext cx="5368017" cy="479132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3CF5AE58-8322-7901-40ED-FF614246ACE0}"/>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3DF21F8-4B78-DFA7-9E07-441D1760C68C}"/>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49AAD5F-11A0-995A-7B25-29E2683374CE}"/>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432693"/>
            <a:ext cx="1198148" cy="2138313"/>
            <a:chOff x="10485745" y="2743287"/>
            <a:chExt cx="1198148" cy="21383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984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7432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743287"/>
              <a:ext cx="0" cy="6551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90986"/>
              <a:ext cx="0" cy="590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43614"/>
            <a:ext cx="1198148" cy="2171952"/>
            <a:chOff x="2775759" y="2320058"/>
            <a:chExt cx="1198148" cy="21719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991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3200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200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91653"/>
              <a:ext cx="0" cy="6003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7DE79698-54C9-4DEE-D25B-313CC1E2AA45}"/>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94C34335-F49B-3225-6ABC-7587F05C2626}"/>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19FBB06-083B-9522-5CB6-0BC8C9BC074D}"/>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A5892DE6-AEA5-0578-1668-F972356CCBDA}"/>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9F47E141-3D7A-5E14-BEB8-26527EA64B51}"/>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7222F0EB-D0FF-F03F-E637-0522F65A9044}"/>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2F07A741-2C04-7D2A-16EF-886327B7477A}"/>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7DC6306-360F-EEE8-60F6-40AE7810EE37}"/>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98</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13</cp:revision>
  <dcterms:created xsi:type="dcterms:W3CDTF">2022-07-04T13:32:28Z</dcterms:created>
  <dcterms:modified xsi:type="dcterms:W3CDTF">2023-03-08T23:52:20Z</dcterms:modified>
</cp:coreProperties>
</file>